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6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8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9.xml" ContentType="application/vnd.openxmlformats-officedocument.presentationml.notesSlid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10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notesSlides/notesSlide11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notesSlides/notesSlide12.xml" ContentType="application/vnd.openxmlformats-officedocument.presentationml.notesSlid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3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notesSlides/notesSlide14.xml" ContentType="application/vnd.openxmlformats-officedocument.presentationml.notesSlid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5.xml" ContentType="application/vnd.openxmlformats-officedocument.presentationml.notesSlid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16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notesSlides/notesSlide17.xml" ContentType="application/vnd.openxmlformats-officedocument.presentationml.notesSl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18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19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notesSlides/notesSlide20.xml" ContentType="application/vnd.openxmlformats-officedocument.presentationml.notesSlide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5"/>
  </p:notesMasterIdLst>
  <p:sldIdLst>
    <p:sldId id="257" r:id="rId2"/>
    <p:sldId id="256" r:id="rId3"/>
    <p:sldId id="260" r:id="rId4"/>
    <p:sldId id="261" r:id="rId5"/>
    <p:sldId id="262" r:id="rId6"/>
    <p:sldId id="263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3" r:id="rId16"/>
    <p:sldId id="275" r:id="rId17"/>
    <p:sldId id="278" r:id="rId18"/>
    <p:sldId id="280" r:id="rId19"/>
    <p:sldId id="279" r:id="rId20"/>
    <p:sldId id="281" r:id="rId21"/>
    <p:sldId id="282" r:id="rId22"/>
    <p:sldId id="285" r:id="rId23"/>
    <p:sldId id="258" r:id="rId24"/>
  </p:sldIdLst>
  <p:sldSz cx="9144000" cy="6858000" type="screen4x3"/>
  <p:notesSz cx="6858000" cy="9144000"/>
  <p:custDataLst>
    <p:tags r:id="rId26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D408F"/>
    <a:srgbClr val="224CAA"/>
    <a:srgbClr val="C0E9F8"/>
    <a:srgbClr val="C0E1F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Střední styl 4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571" autoAdjust="0"/>
  </p:normalViewPr>
  <p:slideViewPr>
    <p:cSldViewPr>
      <p:cViewPr>
        <p:scale>
          <a:sx n="80" d="100"/>
          <a:sy n="80" d="100"/>
        </p:scale>
        <p:origin x="-1086" y="36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123871-58E3-488D-8D7F-5AFA2DA8A14C}" type="datetimeFigureOut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9E3E151-76E4-4335-90BD-BDE2BE9E2B1B}" type="slidenum">
              <a:rPr lang="cs-CZ" smtClean="0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657758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2</a:t>
            </a:fld>
            <a:endParaRPr lang="cs-CZ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1</a:t>
            </a:fld>
            <a:endParaRPr lang="cs-CZ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2</a:t>
            </a:fld>
            <a:endParaRPr lang="cs-CZ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Dělený 9!!!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3</a:t>
            </a:fld>
            <a:endParaRPr lang="cs-CZ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4</a:t>
            </a:fld>
            <a:endParaRPr lang="cs-CZ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Dělený 9!!!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5</a:t>
            </a:fld>
            <a:endParaRPr lang="cs-CZ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Dělený 9!!!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6</a:t>
            </a:fld>
            <a:endParaRPr lang="cs-CZ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7</a:t>
            </a:fld>
            <a:endParaRPr lang="cs-CZ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8</a:t>
            </a:fld>
            <a:endParaRPr lang="cs-CZ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9</a:t>
            </a:fld>
            <a:endParaRPr lang="cs-CZ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20</a:t>
            </a:fld>
            <a:endParaRPr lang="cs-CZ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cs-CZ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rozšířit nástroje pro identifikaci rizikových oblastí ČR z dalšího pohledu týkajícího se klimatu - z pohledu bleskové aktivity v ovzduší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3</a:t>
            </a:fld>
            <a:endParaRPr lang="cs-CZ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Delší časová</a:t>
            </a:r>
            <a:r>
              <a:rPr lang="cs-CZ" baseline="0" dirty="0" smtClean="0"/>
              <a:t> řada</a:t>
            </a:r>
          </a:p>
          <a:p>
            <a:r>
              <a:rPr lang="cs-CZ" baseline="0" dirty="0" smtClean="0"/>
              <a:t>Komplexní data</a:t>
            </a: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21</a:t>
            </a:fld>
            <a:endParaRPr lang="cs-CZ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Tx/>
              <a:buNone/>
            </a:pPr>
            <a:endParaRPr lang="cs-CZ" sz="1200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22</a:t>
            </a:fld>
            <a:endParaRPr lang="cs-CZ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- binární </a:t>
            </a:r>
            <a:r>
              <a:rPr lang="cs-CZ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ridová</a:t>
            </a:r>
            <a:r>
              <a:rPr lang="cs-CZ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informace obsahující zakódovanou informaci o počtu blesků do Země v určité předem definované ortogonální</a:t>
            </a:r>
          </a:p>
          <a:p>
            <a:r>
              <a:rPr lang="pl-PL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řížce za období 2002 – 2010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4</a:t>
            </a:fld>
            <a:endParaRPr lang="cs-CZ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5</a:t>
            </a:fld>
            <a:endParaRPr lang="cs-CZ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Funkce intenzity - spojitá vyrovnávající funkce sloužící k odhadu pravděpodobnosti výskytu náhodné proměnné v daném místě v prostoru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6</a:t>
            </a:fld>
            <a:endParaRPr lang="cs-CZ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7</a:t>
            </a:fld>
            <a:endParaRPr lang="cs-CZ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8</a:t>
            </a:fld>
            <a:endParaRPr lang="cs-CZ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9</a:t>
            </a:fld>
            <a:endParaRPr lang="cs-CZ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cs-CZ" dirty="0" smtClean="0"/>
              <a:t>Popis</a:t>
            </a:r>
            <a:r>
              <a:rPr lang="cs-CZ" baseline="0" dirty="0" smtClean="0"/>
              <a:t> dat</a:t>
            </a:r>
          </a:p>
          <a:p>
            <a:r>
              <a:rPr lang="cs-CZ" baseline="0" dirty="0" smtClean="0"/>
              <a:t>Zpracování</a:t>
            </a:r>
          </a:p>
          <a:p>
            <a:r>
              <a:rPr lang="cs-CZ" baseline="0" dirty="0" smtClean="0"/>
              <a:t>Analýza výsledků</a:t>
            </a:r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E3E151-76E4-4335-90BD-BDE2BE9E2B1B}" type="slidenum">
              <a:rPr lang="cs-CZ" smtClean="0"/>
              <a:pPr/>
              <a:t>10</a:t>
            </a:fld>
            <a:endParaRPr lang="cs-CZ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071679-0FA0-4952-83C7-A245CE0D0956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F8C836-7CB4-47F7-B915-29A387FA3D24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AEC4-39E5-4AE2-BF47-2D5B04ABD8F0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C6F42-7BCE-4B82-90B1-6EA8478917F7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9058D4-EDA2-4E88-BF98-EDA65470C3CC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4683BB-E5BE-4936-A469-7F46DCB340A5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39A090-C1D8-46B5-B88F-2C4D5C7840DA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E8FD63-0486-43EE-B592-45F2B382F3C9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3791A3-5380-47DF-8C48-A22E0929F1B4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44B41F-585C-4D88-95C7-8858A0F5BE84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388390-0EA6-44E2-AC84-CB9D05395BB9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FA8072-2CED-4967-8D3D-C01F1B43ECBC}" type="datetime1">
              <a:rPr lang="cs-CZ" smtClean="0"/>
              <a:pPr/>
              <a:t>25. 5. 2014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264769-77EF-4CD0-90DE-F7D7F2D423C4}" type="slidenum">
              <a:rPr lang="cs-CZ" smtClean="0"/>
              <a:pPr/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2.emf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oleObject" Target="../embeddings/oleObject9.bin"/><Relationship Id="rId2" Type="http://schemas.openxmlformats.org/officeDocument/2006/relationships/tags" Target="../tags/tag66.xml"/><Relationship Id="rId1" Type="http://schemas.openxmlformats.org/officeDocument/2006/relationships/vmlDrawing" Target="../drawings/vmlDrawing9.vml"/><Relationship Id="rId6" Type="http://schemas.openxmlformats.org/officeDocument/2006/relationships/tags" Target="../tags/tag70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69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image" Target="../media/image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image" Target="../media/image12.png"/><Relationship Id="rId3" Type="http://schemas.openxmlformats.org/officeDocument/2006/relationships/tags" Target="../tags/tag75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image" Target="../media/image3.png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image" Target="../media/image15.png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image" Target="../media/image2.emf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oleObject" Target="../embeddings/oleObject10.bin"/><Relationship Id="rId28" Type="http://schemas.openxmlformats.org/officeDocument/2006/relationships/image" Target="../media/image14.png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notesSlide" Target="../notesSlides/notesSlide10.xml"/><Relationship Id="rId27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99.xml"/><Relationship Id="rId13" Type="http://schemas.openxmlformats.org/officeDocument/2006/relationships/image" Target="../media/image3.png"/><Relationship Id="rId3" Type="http://schemas.openxmlformats.org/officeDocument/2006/relationships/tags" Target="../tags/tag94.xml"/><Relationship Id="rId7" Type="http://schemas.openxmlformats.org/officeDocument/2006/relationships/tags" Target="../tags/tag98.xml"/><Relationship Id="rId12" Type="http://schemas.openxmlformats.org/officeDocument/2006/relationships/image" Target="../media/image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7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6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95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13" Type="http://schemas.openxmlformats.org/officeDocument/2006/relationships/tags" Target="../tags/tag111.xml"/><Relationship Id="rId18" Type="http://schemas.openxmlformats.org/officeDocument/2006/relationships/tags" Target="../tags/tag116.xml"/><Relationship Id="rId26" Type="http://schemas.openxmlformats.org/officeDocument/2006/relationships/image" Target="../media/image2.emf"/><Relationship Id="rId3" Type="http://schemas.openxmlformats.org/officeDocument/2006/relationships/tags" Target="../tags/tag101.xml"/><Relationship Id="rId21" Type="http://schemas.openxmlformats.org/officeDocument/2006/relationships/tags" Target="../tags/tag119.xml"/><Relationship Id="rId7" Type="http://schemas.openxmlformats.org/officeDocument/2006/relationships/tags" Target="../tags/tag105.xml"/><Relationship Id="rId12" Type="http://schemas.openxmlformats.org/officeDocument/2006/relationships/tags" Target="../tags/tag110.xml"/><Relationship Id="rId17" Type="http://schemas.openxmlformats.org/officeDocument/2006/relationships/tags" Target="../tags/tag115.xml"/><Relationship Id="rId25" Type="http://schemas.openxmlformats.org/officeDocument/2006/relationships/oleObject" Target="../embeddings/oleObject12.bin"/><Relationship Id="rId2" Type="http://schemas.openxmlformats.org/officeDocument/2006/relationships/tags" Target="../tags/tag100.xml"/><Relationship Id="rId16" Type="http://schemas.openxmlformats.org/officeDocument/2006/relationships/tags" Target="../tags/tag114.xml"/><Relationship Id="rId20" Type="http://schemas.openxmlformats.org/officeDocument/2006/relationships/tags" Target="../tags/tag118.xml"/><Relationship Id="rId29" Type="http://schemas.openxmlformats.org/officeDocument/2006/relationships/image" Target="../media/image18.png"/><Relationship Id="rId1" Type="http://schemas.openxmlformats.org/officeDocument/2006/relationships/vmlDrawing" Target="../drawings/vmlDrawing12.vml"/><Relationship Id="rId6" Type="http://schemas.openxmlformats.org/officeDocument/2006/relationships/tags" Target="../tags/tag104.xml"/><Relationship Id="rId11" Type="http://schemas.openxmlformats.org/officeDocument/2006/relationships/tags" Target="../tags/tag109.xml"/><Relationship Id="rId24" Type="http://schemas.openxmlformats.org/officeDocument/2006/relationships/notesSlide" Target="../notesSlides/notesSlide12.xml"/><Relationship Id="rId5" Type="http://schemas.openxmlformats.org/officeDocument/2006/relationships/tags" Target="../tags/tag103.xml"/><Relationship Id="rId15" Type="http://schemas.openxmlformats.org/officeDocument/2006/relationships/tags" Target="../tags/tag113.xml"/><Relationship Id="rId23" Type="http://schemas.openxmlformats.org/officeDocument/2006/relationships/slideLayout" Target="../slideLayouts/slideLayout1.xml"/><Relationship Id="rId28" Type="http://schemas.openxmlformats.org/officeDocument/2006/relationships/image" Target="../media/image17.png"/><Relationship Id="rId10" Type="http://schemas.openxmlformats.org/officeDocument/2006/relationships/tags" Target="../tags/tag108.xml"/><Relationship Id="rId19" Type="http://schemas.openxmlformats.org/officeDocument/2006/relationships/tags" Target="../tags/tag117.xml"/><Relationship Id="rId4" Type="http://schemas.openxmlformats.org/officeDocument/2006/relationships/tags" Target="../tags/tag102.xml"/><Relationship Id="rId9" Type="http://schemas.openxmlformats.org/officeDocument/2006/relationships/tags" Target="../tags/tag107.xml"/><Relationship Id="rId14" Type="http://schemas.openxmlformats.org/officeDocument/2006/relationships/tags" Target="../tags/tag112.xml"/><Relationship Id="rId22" Type="http://schemas.openxmlformats.org/officeDocument/2006/relationships/tags" Target="../tags/tag120.xml"/><Relationship Id="rId27" Type="http://schemas.openxmlformats.org/officeDocument/2006/relationships/image" Target="../media/image3.png"/><Relationship Id="rId30" Type="http://schemas.openxmlformats.org/officeDocument/2006/relationships/image" Target="../media/image1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notesSlide" Target="../notesSlides/notesSlide13.xml"/><Relationship Id="rId18" Type="http://schemas.openxmlformats.org/officeDocument/2006/relationships/image" Target="../media/image21.png"/><Relationship Id="rId3" Type="http://schemas.openxmlformats.org/officeDocument/2006/relationships/tags" Target="../tags/tag122.xml"/><Relationship Id="rId21" Type="http://schemas.openxmlformats.org/officeDocument/2006/relationships/image" Target="../media/image24.png"/><Relationship Id="rId7" Type="http://schemas.openxmlformats.org/officeDocument/2006/relationships/tags" Target="../tags/tag126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20.png"/><Relationship Id="rId2" Type="http://schemas.openxmlformats.org/officeDocument/2006/relationships/tags" Target="../tags/tag121.xml"/><Relationship Id="rId16" Type="http://schemas.openxmlformats.org/officeDocument/2006/relationships/image" Target="../media/image3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13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5" Type="http://schemas.openxmlformats.org/officeDocument/2006/relationships/tags" Target="../tags/tag124.xml"/><Relationship Id="rId15" Type="http://schemas.openxmlformats.org/officeDocument/2006/relationships/image" Target="../media/image2.emf"/><Relationship Id="rId10" Type="http://schemas.openxmlformats.org/officeDocument/2006/relationships/tags" Target="../tags/tag129.xml"/><Relationship Id="rId19" Type="http://schemas.openxmlformats.org/officeDocument/2006/relationships/image" Target="../media/image22.png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13" Type="http://schemas.openxmlformats.org/officeDocument/2006/relationships/image" Target="../media/image2.emf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131.xml"/><Relationship Id="rId16" Type="http://schemas.openxmlformats.org/officeDocument/2006/relationships/image" Target="../media/image26.png"/><Relationship Id="rId1" Type="http://schemas.openxmlformats.org/officeDocument/2006/relationships/vmlDrawing" Target="../drawings/vmlDrawing14.vml"/><Relationship Id="rId6" Type="http://schemas.openxmlformats.org/officeDocument/2006/relationships/tags" Target="../tags/tag135.xml"/><Relationship Id="rId11" Type="http://schemas.openxmlformats.org/officeDocument/2006/relationships/notesSlide" Target="../notesSlides/notesSlide14.xml"/><Relationship Id="rId5" Type="http://schemas.openxmlformats.org/officeDocument/2006/relationships/tags" Target="../tags/tag134.xml"/><Relationship Id="rId15" Type="http://schemas.openxmlformats.org/officeDocument/2006/relationships/image" Target="../media/image25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33.xml"/><Relationship Id="rId9" Type="http://schemas.openxmlformats.org/officeDocument/2006/relationships/tags" Target="../tags/tag138.xml"/><Relationship Id="rId14" Type="http://schemas.openxmlformats.org/officeDocument/2006/relationships/image" Target="../media/image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image" Target="../media/image2.emf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oleObject" Target="../embeddings/oleObject15.bin"/><Relationship Id="rId2" Type="http://schemas.openxmlformats.org/officeDocument/2006/relationships/tags" Target="../tags/tag13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43.xml"/><Relationship Id="rId11" Type="http://schemas.openxmlformats.org/officeDocument/2006/relationships/notesSlide" Target="../notesSlides/notesSlide15.xml"/><Relationship Id="rId5" Type="http://schemas.openxmlformats.org/officeDocument/2006/relationships/tags" Target="../tags/tag142.xml"/><Relationship Id="rId15" Type="http://schemas.openxmlformats.org/officeDocument/2006/relationships/image" Target="../media/image27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image" Target="../media/image3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53.xml"/><Relationship Id="rId13" Type="http://schemas.openxmlformats.org/officeDocument/2006/relationships/image" Target="../media/image2.emf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4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51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150.xml"/><Relationship Id="rId15" Type="http://schemas.openxmlformats.org/officeDocument/2006/relationships/image" Target="../media/image28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49.xml"/><Relationship Id="rId9" Type="http://schemas.openxmlformats.org/officeDocument/2006/relationships/tags" Target="../tags/tag154.xml"/><Relationship Id="rId14" Type="http://schemas.openxmlformats.org/officeDocument/2006/relationships/image" Target="../media/image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161.xml"/><Relationship Id="rId13" Type="http://schemas.openxmlformats.org/officeDocument/2006/relationships/image" Target="../media/image2.emf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oleObject" Target="../embeddings/oleObject17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59.xml"/><Relationship Id="rId11" Type="http://schemas.openxmlformats.org/officeDocument/2006/relationships/notesSlide" Target="../notesSlides/notesSlide17.xml"/><Relationship Id="rId5" Type="http://schemas.openxmlformats.org/officeDocument/2006/relationships/tags" Target="../tags/tag158.xml"/><Relationship Id="rId15" Type="http://schemas.openxmlformats.org/officeDocument/2006/relationships/image" Target="../media/image29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57.xml"/><Relationship Id="rId9" Type="http://schemas.openxmlformats.org/officeDocument/2006/relationships/tags" Target="../tags/tag162.xml"/><Relationship Id="rId14" Type="http://schemas.openxmlformats.org/officeDocument/2006/relationships/image" Target="../media/image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image" Target="../media/image2.emf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12" Type="http://schemas.openxmlformats.org/officeDocument/2006/relationships/oleObject" Target="../embeddings/oleObject18.bin"/><Relationship Id="rId2" Type="http://schemas.openxmlformats.org/officeDocument/2006/relationships/tags" Target="../tags/tag16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67.xml"/><Relationship Id="rId11" Type="http://schemas.openxmlformats.org/officeDocument/2006/relationships/notesSlide" Target="../notesSlides/notesSlide18.xml"/><Relationship Id="rId5" Type="http://schemas.openxmlformats.org/officeDocument/2006/relationships/tags" Target="../tags/tag166.xml"/><Relationship Id="rId15" Type="http://schemas.openxmlformats.org/officeDocument/2006/relationships/image" Target="../media/image30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emf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5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77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72.xml"/><Relationship Id="rId7" Type="http://schemas.openxmlformats.org/officeDocument/2006/relationships/tags" Target="../tags/tag176.xml"/><Relationship Id="rId12" Type="http://schemas.openxmlformats.org/officeDocument/2006/relationships/notesSlide" Target="../notesSlides/notesSlide19.xml"/><Relationship Id="rId17" Type="http://schemas.openxmlformats.org/officeDocument/2006/relationships/image" Target="../media/image29.png"/><Relationship Id="rId2" Type="http://schemas.openxmlformats.org/officeDocument/2006/relationships/tags" Target="../tags/tag171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19.vml"/><Relationship Id="rId6" Type="http://schemas.openxmlformats.org/officeDocument/2006/relationships/tags" Target="../tags/tag175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74.xml"/><Relationship Id="rId15" Type="http://schemas.openxmlformats.org/officeDocument/2006/relationships/image" Target="../media/image3.png"/><Relationship Id="rId10" Type="http://schemas.openxmlformats.org/officeDocument/2006/relationships/tags" Target="../tags/tag179.xml"/><Relationship Id="rId4" Type="http://schemas.openxmlformats.org/officeDocument/2006/relationships/tags" Target="../tags/tag173.xml"/><Relationship Id="rId9" Type="http://schemas.openxmlformats.org/officeDocument/2006/relationships/tags" Target="../tags/tag178.xml"/><Relationship Id="rId14" Type="http://schemas.openxmlformats.org/officeDocument/2006/relationships/image" Target="../media/image2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notesSlide" Target="../notesSlides/notesSlide20.xml"/><Relationship Id="rId2" Type="http://schemas.openxmlformats.org/officeDocument/2006/relationships/tags" Target="../tags/tag180.xml"/><Relationship Id="rId16" Type="http://schemas.openxmlformats.org/officeDocument/2006/relationships/image" Target="../media/image31.png"/><Relationship Id="rId1" Type="http://schemas.openxmlformats.org/officeDocument/2006/relationships/vmlDrawing" Target="../drawings/vmlDrawing20.vml"/><Relationship Id="rId6" Type="http://schemas.openxmlformats.org/officeDocument/2006/relationships/tags" Target="../tags/tag184.xml"/><Relationship Id="rId11" Type="http://schemas.openxmlformats.org/officeDocument/2006/relationships/slideLayout" Target="../slideLayouts/slideLayout1.xml"/><Relationship Id="rId5" Type="http://schemas.openxmlformats.org/officeDocument/2006/relationships/tags" Target="../tags/tag183.xml"/><Relationship Id="rId15" Type="http://schemas.openxmlformats.org/officeDocument/2006/relationships/image" Target="../media/image3.png"/><Relationship Id="rId10" Type="http://schemas.openxmlformats.org/officeDocument/2006/relationships/tags" Target="../tags/tag188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image" Target="../media/image2.emf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95.xml"/><Relationship Id="rId13" Type="http://schemas.openxmlformats.org/officeDocument/2006/relationships/tags" Target="../tags/tag200.xml"/><Relationship Id="rId18" Type="http://schemas.openxmlformats.org/officeDocument/2006/relationships/tags" Target="../tags/tag205.xml"/><Relationship Id="rId26" Type="http://schemas.openxmlformats.org/officeDocument/2006/relationships/image" Target="../media/image3.png"/><Relationship Id="rId3" Type="http://schemas.openxmlformats.org/officeDocument/2006/relationships/tags" Target="../tags/tag190.xml"/><Relationship Id="rId21" Type="http://schemas.openxmlformats.org/officeDocument/2006/relationships/slideLayout" Target="../slideLayouts/slideLayout1.xml"/><Relationship Id="rId7" Type="http://schemas.openxmlformats.org/officeDocument/2006/relationships/tags" Target="../tags/tag194.xml"/><Relationship Id="rId12" Type="http://schemas.openxmlformats.org/officeDocument/2006/relationships/tags" Target="../tags/tag199.xml"/><Relationship Id="rId17" Type="http://schemas.openxmlformats.org/officeDocument/2006/relationships/tags" Target="../tags/tag204.xml"/><Relationship Id="rId25" Type="http://schemas.openxmlformats.org/officeDocument/2006/relationships/image" Target="../media/image32.jpeg"/><Relationship Id="rId2" Type="http://schemas.openxmlformats.org/officeDocument/2006/relationships/tags" Target="../tags/tag189.xml"/><Relationship Id="rId16" Type="http://schemas.openxmlformats.org/officeDocument/2006/relationships/tags" Target="../tags/tag203.xml"/><Relationship Id="rId20" Type="http://schemas.openxmlformats.org/officeDocument/2006/relationships/tags" Target="../tags/tag207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93.xml"/><Relationship Id="rId11" Type="http://schemas.openxmlformats.org/officeDocument/2006/relationships/tags" Target="../tags/tag198.xml"/><Relationship Id="rId24" Type="http://schemas.openxmlformats.org/officeDocument/2006/relationships/image" Target="../media/image2.emf"/><Relationship Id="rId5" Type="http://schemas.openxmlformats.org/officeDocument/2006/relationships/tags" Target="../tags/tag192.xml"/><Relationship Id="rId15" Type="http://schemas.openxmlformats.org/officeDocument/2006/relationships/tags" Target="../tags/tag202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197.xml"/><Relationship Id="rId19" Type="http://schemas.openxmlformats.org/officeDocument/2006/relationships/tags" Target="../tags/tag206.xml"/><Relationship Id="rId4" Type="http://schemas.openxmlformats.org/officeDocument/2006/relationships/tags" Target="../tags/tag191.xml"/><Relationship Id="rId9" Type="http://schemas.openxmlformats.org/officeDocument/2006/relationships/tags" Target="../tags/tag196.xml"/><Relationship Id="rId14" Type="http://schemas.openxmlformats.org/officeDocument/2006/relationships/tags" Target="../tags/tag201.xml"/><Relationship Id="rId22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oleObject" Target="../embeddings/oleObject2.bin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notesSlide" Target="../notesSlides/notesSlide2.xml"/><Relationship Id="rId5" Type="http://schemas.openxmlformats.org/officeDocument/2006/relationships/tags" Target="../tags/tag13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image" Target="../media/image2.emf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oleObject" Target="../embeddings/oleObject3.bin"/><Relationship Id="rId2" Type="http://schemas.openxmlformats.org/officeDocument/2006/relationships/tags" Target="../tags/tag18.xm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notesSlide" Target="../notesSlides/notesSlide3.xml"/><Relationship Id="rId5" Type="http://schemas.openxmlformats.org/officeDocument/2006/relationships/tags" Target="../tags/tag21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image" Target="../media/image2.emf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oleObject" Target="../embeddings/oleObject4.bin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29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image" Target="../media/image2.emf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oleObject" Target="../embeddings/oleObject5.bin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tags" Target="../tags/tag38.xml"/><Relationship Id="rId11" Type="http://schemas.openxmlformats.org/officeDocument/2006/relationships/notesSlide" Target="../notesSlides/notesSlide5.xml"/><Relationship Id="rId5" Type="http://schemas.openxmlformats.org/officeDocument/2006/relationships/tags" Target="../tags/tag37.xml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image" Target="../media/image2.emf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oleObject" Target="../embeddings/oleObject6.bin"/><Relationship Id="rId2" Type="http://schemas.openxmlformats.org/officeDocument/2006/relationships/tags" Target="../tags/tag42.xml"/><Relationship Id="rId16" Type="http://schemas.openxmlformats.org/officeDocument/2006/relationships/image" Target="../media/image6.png"/><Relationship Id="rId1" Type="http://schemas.openxmlformats.org/officeDocument/2006/relationships/vmlDrawing" Target="../drawings/vmlDrawing6.vml"/><Relationship Id="rId6" Type="http://schemas.openxmlformats.org/officeDocument/2006/relationships/tags" Target="../tags/tag46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45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13" Type="http://schemas.openxmlformats.org/officeDocument/2006/relationships/image" Target="../media/image2.emf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9.png"/><Relationship Id="rId2" Type="http://schemas.openxmlformats.org/officeDocument/2006/relationships/tags" Target="../tags/tag50.xml"/><Relationship Id="rId16" Type="http://schemas.openxmlformats.org/officeDocument/2006/relationships/image" Target="../media/image8.png"/><Relationship Id="rId1" Type="http://schemas.openxmlformats.org/officeDocument/2006/relationships/vmlDrawing" Target="../drawings/vmlDrawing7.vml"/><Relationship Id="rId6" Type="http://schemas.openxmlformats.org/officeDocument/2006/relationships/tags" Target="../tags/tag54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53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2.xml"/><Relationship Id="rId9" Type="http://schemas.openxmlformats.org/officeDocument/2006/relationships/tags" Target="../tags/tag57.xml"/><Relationship Id="rId1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2.emf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oleObject" Target="../embeddings/oleObject8.bin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61.xml"/><Relationship Id="rId15" Type="http://schemas.openxmlformats.org/officeDocument/2006/relationships/image" Target="../media/image10.png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00430" y="714356"/>
            <a:ext cx="4643470" cy="2071702"/>
          </a:xfrm>
        </p:spPr>
        <p:txBody>
          <a:bodyPr>
            <a:noAutofit/>
          </a:bodyPr>
          <a:lstStyle/>
          <a:p>
            <a:r>
              <a:rPr lang="cs-CZ" sz="3200" cap="none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nalýza elektrické aktivity v ovzduší zaměřená na ekonomické využití v pojišťovnictví</a:t>
            </a:r>
            <a:endParaRPr lang="cs-CZ" sz="3200" cap="none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4" name="Přímá spojovací čára 33"/>
          <p:cNvCxnSpPr/>
          <p:nvPr/>
        </p:nvCxnSpPr>
        <p:spPr>
          <a:xfrm>
            <a:off x="0" y="3286124"/>
            <a:ext cx="9144000" cy="1588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857232"/>
            <a:ext cx="2198794" cy="1657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Obdélník 7"/>
          <p:cNvSpPr/>
          <p:nvPr/>
        </p:nvSpPr>
        <p:spPr>
          <a:xfrm>
            <a:off x="0" y="3321749"/>
            <a:ext cx="9144000" cy="3536251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>
              <a:spcBef>
                <a:spcPts val="600"/>
              </a:spcBef>
            </a:pP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Diplomová práce</a:t>
            </a:r>
          </a:p>
          <a:p>
            <a:pPr marL="628650">
              <a:spcBef>
                <a:spcPts val="600"/>
              </a:spcBef>
            </a:pP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Autorka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Ing. </a:t>
            </a:r>
            <a:r>
              <a:rPr lang="cs-CZ" sz="2400" b="1" dirty="0">
                <a:latin typeface="Times New Roman" pitchFamily="18" charset="0"/>
                <a:cs typeface="Times New Roman" pitchFamily="18" charset="0"/>
              </a:rPr>
              <a:t>e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t Ing. 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Zuzana Hynoušová</a:t>
            </a:r>
          </a:p>
          <a:p>
            <a:pPr marL="628650">
              <a:spcBef>
                <a:spcPts val="600"/>
              </a:spcBef>
            </a:pP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Vedoucí 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práce: RNDr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. Kateřina Staňková </a:t>
            </a:r>
            <a:r>
              <a:rPr lang="cs-CZ" sz="2400" b="1" dirty="0" err="1" smtClean="0">
                <a:latin typeface="Times New Roman" pitchFamily="18" charset="0"/>
                <a:cs typeface="Times New Roman" pitchFamily="18" charset="0"/>
              </a:rPr>
              <a:t>Helisová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cs-CZ" sz="2400" b="1" dirty="0" err="1" smtClean="0">
                <a:latin typeface="Times New Roman" pitchFamily="18" charset="0"/>
                <a:cs typeface="Times New Roman" pitchFamily="18" charset="0"/>
              </a:rPr>
              <a:t>Ph.D</a:t>
            </a: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628650">
              <a:spcBef>
                <a:spcPts val="600"/>
              </a:spcBef>
            </a:pP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ČVUT Fakulta elektrotechnická </a:t>
            </a:r>
          </a:p>
          <a:p>
            <a:pPr marL="628650">
              <a:spcBef>
                <a:spcPts val="600"/>
              </a:spcBef>
            </a:pPr>
            <a:r>
              <a:rPr lang="cs-CZ" sz="2400" b="1" dirty="0" smtClean="0">
                <a:latin typeface="Times New Roman" pitchFamily="18" charset="0"/>
                <a:cs typeface="Times New Roman" pitchFamily="18" charset="0"/>
              </a:rPr>
              <a:t>2012/2013</a:t>
            </a:r>
            <a:endParaRPr lang="cs-CZ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0" y="0"/>
            <a:ext cx="9144000" cy="335756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2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0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ovéPole 17"/>
          <p:cNvSpPr txBox="1"/>
          <p:nvPr>
            <p:custDataLst>
              <p:tags r:id="rId9"/>
            </p:custDataLst>
          </p:nvPr>
        </p:nvSpPr>
        <p:spPr>
          <a:xfrm>
            <a:off x="1571636" y="1071546"/>
            <a:ext cx="7572364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rincip zpracování dat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dekódování souboru s počty blesků, určení mřížky a převodních vztahů</a:t>
            </a:r>
          </a:p>
          <a:p>
            <a:pPr marL="0" lvl="1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odhad funkce intenzity + normování</a:t>
            </a:r>
          </a:p>
          <a:p>
            <a:pPr marL="0" lvl="1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řevod dat do porovnatelné podoby</a:t>
            </a:r>
          </a:p>
          <a:p>
            <a:pPr marL="0" lvl="1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rovnání </a:t>
            </a: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15"/>
          <a:srcRect l="30208" t="27500" r="20312" b="40833"/>
          <a:stretch>
            <a:fillRect/>
          </a:stretch>
        </p:blipFill>
        <p:spPr bwMode="auto">
          <a:xfrm>
            <a:off x="1500166" y="1857364"/>
            <a:ext cx="6786610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6" name="think-cell Slide" r:id="rId23" imgW="429" imgH="429" progId="TCLayout.ActiveDocument.1">
                  <p:embed/>
                </p:oleObj>
              </mc:Choice>
              <mc:Fallback>
                <p:oleObj name="think-cell Slide" r:id="rId23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5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1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>
            <p:custDataLst>
              <p:tags r:id="rId9"/>
            </p:custDataLst>
          </p:nvPr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>
            <p:custDataLst>
              <p:tags r:id="rId10"/>
            </p:custDataLst>
          </p:nvPr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>
            <p:custDataLst>
              <p:tags r:id="rId11"/>
            </p:custDataLst>
          </p:nvPr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>
            <p:custDataLst>
              <p:tags r:id="rId12"/>
            </p:custDataLst>
          </p:nvPr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>
            <p:custDataLst>
              <p:tags r:id="rId13"/>
            </p:custDataLst>
          </p:nvPr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>
            <p:custDataLst>
              <p:tags r:id="rId14"/>
            </p:custDataLst>
          </p:nvPr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ovéPole 17"/>
          <p:cNvSpPr txBox="1"/>
          <p:nvPr>
            <p:custDataLst>
              <p:tags r:id="rId15"/>
            </p:custDataLst>
          </p:nvPr>
        </p:nvSpPr>
        <p:spPr>
          <a:xfrm>
            <a:off x="1571636" y="1071546"/>
            <a:ext cx="678657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Dekódování souboru s počty blesků, určení mřížky</a:t>
            </a:r>
          </a:p>
        </p:txBody>
      </p:sp>
      <p:sp>
        <p:nvSpPr>
          <p:cNvPr id="43017" name="Rectangle 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50180" name="Picture 4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/>
          <a:srcRect l="39583" t="45000" r="32291" b="30833"/>
          <a:stretch>
            <a:fillRect/>
          </a:stretch>
        </p:blipFill>
        <p:spPr bwMode="auto">
          <a:xfrm>
            <a:off x="1643042" y="3929066"/>
            <a:ext cx="4357718" cy="2340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0179" name="Picture 3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7"/>
          <a:srcRect/>
          <a:stretch>
            <a:fillRect/>
          </a:stretch>
        </p:blipFill>
        <p:spPr bwMode="auto">
          <a:xfrm>
            <a:off x="1714480" y="1928802"/>
            <a:ext cx="2857520" cy="1748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28"/>
          <a:srcRect l="14063" t="8334" r="55729" b="56666"/>
          <a:stretch>
            <a:fillRect/>
          </a:stretch>
        </p:blipFill>
        <p:spPr bwMode="auto">
          <a:xfrm>
            <a:off x="6143636" y="4357694"/>
            <a:ext cx="2367659" cy="1714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9"/>
          <a:srcRect l="19271" t="40000" r="35937" b="21666"/>
          <a:stretch>
            <a:fillRect/>
          </a:stretch>
        </p:blipFill>
        <p:spPr bwMode="auto">
          <a:xfrm>
            <a:off x="5072066" y="1857364"/>
            <a:ext cx="3606066" cy="1928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0" name="think-cell Slide" r:id="rId11" imgW="429" imgH="429" progId="TCLayout.ActiveDocument.1">
                  <p:embed/>
                </p:oleObj>
              </mc:Choice>
              <mc:Fallback>
                <p:oleObj name="think-cell Slide" r:id="rId11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3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I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2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14"/>
          <a:srcRect l="10937" t="5000" r="14062" b="21666"/>
          <a:stretch>
            <a:fillRect/>
          </a:stretch>
        </p:blipFill>
        <p:spPr bwMode="auto">
          <a:xfrm>
            <a:off x="1571604" y="1214422"/>
            <a:ext cx="7247710" cy="4429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" name="think-cell Slide" r:id="rId25" imgW="429" imgH="429" progId="TCLayout.ActiveDocument.1">
                  <p:embed/>
                </p:oleObj>
              </mc:Choice>
              <mc:Fallback>
                <p:oleObj name="think-cell Slide" r:id="rId25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ovéPole 34"/>
          <p:cNvSpPr txBox="1"/>
          <p:nvPr>
            <p:custDataLst>
              <p:tags r:id="rId3"/>
            </p:custDataLst>
          </p:nvPr>
        </p:nvSpPr>
        <p:spPr>
          <a:xfrm>
            <a:off x="1571604" y="1343459"/>
            <a:ext cx="6786578" cy="47287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řevodní vztahy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zprůměrování na roční hodnoty</a:t>
            </a:r>
          </a:p>
        </p:txBody>
      </p:sp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7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5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I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3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9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>
            <p:custDataLst>
              <p:tags r:id="rId10"/>
            </p:custDataLst>
          </p:nvPr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>
            <p:custDataLst>
              <p:tags r:id="rId11"/>
            </p:custDataLst>
          </p:nvPr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>
            <p:custDataLst>
              <p:tags r:id="rId12"/>
            </p:custDataLst>
          </p:nvPr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>
            <p:custDataLst>
              <p:tags r:id="rId13"/>
            </p:custDataLst>
          </p:nvPr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>
            <p:custDataLst>
              <p:tags r:id="rId14"/>
            </p:custDataLst>
          </p:nvPr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>
            <p:custDataLst>
              <p:tags r:id="rId15"/>
            </p:custDataLst>
          </p:nvPr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30" name="Picture 6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8"/>
          <a:srcRect l="35417" t="37500" r="30729" b="55833"/>
          <a:stretch>
            <a:fillRect/>
          </a:stretch>
        </p:blipFill>
        <p:spPr bwMode="auto">
          <a:xfrm>
            <a:off x="1500166" y="4500570"/>
            <a:ext cx="4643470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7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29"/>
          <a:srcRect l="32813" t="41667" r="27604" b="49166"/>
          <a:stretch>
            <a:fillRect/>
          </a:stretch>
        </p:blipFill>
        <p:spPr bwMode="auto">
          <a:xfrm>
            <a:off x="1571604" y="2714620"/>
            <a:ext cx="5429288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8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0"/>
          <a:srcRect l="32813" t="28334" r="27604" b="64166"/>
          <a:stretch>
            <a:fillRect/>
          </a:stretch>
        </p:blipFill>
        <p:spPr bwMode="auto">
          <a:xfrm>
            <a:off x="1500166" y="2000240"/>
            <a:ext cx="5429288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6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28"/>
          <a:srcRect l="35417" t="23334" r="30729" b="69166"/>
          <a:stretch>
            <a:fillRect/>
          </a:stretch>
        </p:blipFill>
        <p:spPr bwMode="auto">
          <a:xfrm>
            <a:off x="1500166" y="3571876"/>
            <a:ext cx="4643470" cy="642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" name="think-cell Slide" r:id="rId14" imgW="429" imgH="429" progId="TCLayout.ActiveDocument.1">
                  <p:embed/>
                </p:oleObj>
              </mc:Choice>
              <mc:Fallback>
                <p:oleObj name="think-cell Slide" r:id="rId14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I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4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8"/>
            <a:ext cx="6786578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Odhad funkce intenzity</a:t>
            </a: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3251" name="Picture 3"/>
          <p:cNvPicPr>
            <a:picLocks noChangeAspect="1" noChangeArrowheads="1"/>
          </p:cNvPicPr>
          <p:nvPr/>
        </p:nvPicPr>
        <p:blipFill>
          <a:blip r:embed="rId17"/>
          <a:srcRect l="45313" t="47500" r="38542" b="25833"/>
          <a:stretch>
            <a:fillRect/>
          </a:stretch>
        </p:blipFill>
        <p:spPr bwMode="auto">
          <a:xfrm>
            <a:off x="1643042" y="2714620"/>
            <a:ext cx="2071638" cy="2138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252" name="Picture 4"/>
          <p:cNvPicPr>
            <a:picLocks noChangeAspect="1" noChangeArrowheads="1"/>
          </p:cNvPicPr>
          <p:nvPr/>
        </p:nvPicPr>
        <p:blipFill>
          <a:blip r:embed="rId18"/>
          <a:srcRect l="44271" t="35000" r="37499" b="37500"/>
          <a:stretch>
            <a:fillRect/>
          </a:stretch>
        </p:blipFill>
        <p:spPr bwMode="auto">
          <a:xfrm>
            <a:off x="4000496" y="2675081"/>
            <a:ext cx="2500330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253" name="Picture 5"/>
          <p:cNvPicPr>
            <a:picLocks noChangeAspect="1" noChangeArrowheads="1"/>
          </p:cNvPicPr>
          <p:nvPr/>
        </p:nvPicPr>
        <p:blipFill>
          <a:blip r:embed="rId19"/>
          <a:srcRect l="40104" t="58334" r="34488" b="36666"/>
          <a:stretch>
            <a:fillRect/>
          </a:stretch>
        </p:blipFill>
        <p:spPr bwMode="auto">
          <a:xfrm>
            <a:off x="1714480" y="2000240"/>
            <a:ext cx="3484979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3254" name="Picture 6"/>
          <p:cNvPicPr>
            <a:picLocks noChangeAspect="1" noChangeArrowheads="1"/>
          </p:cNvPicPr>
          <p:nvPr/>
        </p:nvPicPr>
        <p:blipFill>
          <a:blip r:embed="rId20"/>
          <a:srcRect l="44271" t="14167" r="39062" b="80000"/>
          <a:stretch>
            <a:fillRect/>
          </a:stretch>
        </p:blipFill>
        <p:spPr bwMode="auto">
          <a:xfrm>
            <a:off x="6572232" y="3643314"/>
            <a:ext cx="2286048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20"/>
          <a:srcRect l="38542" t="24167" r="34375" b="64166"/>
          <a:stretch>
            <a:fillRect/>
          </a:stretch>
        </p:blipFill>
        <p:spPr bwMode="auto">
          <a:xfrm>
            <a:off x="1500166" y="5357826"/>
            <a:ext cx="3714743" cy="10001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pSp>
        <p:nvGrpSpPr>
          <p:cNvPr id="26" name="Skupina 25"/>
          <p:cNvGrpSpPr/>
          <p:nvPr/>
        </p:nvGrpSpPr>
        <p:grpSpPr>
          <a:xfrm>
            <a:off x="6072198" y="5500702"/>
            <a:ext cx="1678699" cy="714380"/>
            <a:chOff x="4643438" y="3357562"/>
            <a:chExt cx="1678699" cy="714380"/>
          </a:xfrm>
        </p:grpSpPr>
        <p:pic>
          <p:nvPicPr>
            <p:cNvPr id="27" name="Picture 3"/>
            <p:cNvPicPr>
              <a:picLocks noChangeAspect="1" noChangeArrowheads="1"/>
            </p:cNvPicPr>
            <p:nvPr>
              <p:custDataLst>
                <p:tags r:id="rId10"/>
              </p:custDataLst>
            </p:nvPr>
          </p:nvPicPr>
          <p:blipFill>
            <a:blip r:embed="rId21"/>
            <a:srcRect l="47917" t="72501" r="42187" b="19166"/>
            <a:stretch>
              <a:fillRect/>
            </a:stretch>
          </p:blipFill>
          <p:spPr bwMode="auto">
            <a:xfrm>
              <a:off x="4643438" y="3357562"/>
              <a:ext cx="1357322" cy="714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29" name="Obdélník 28"/>
            <p:cNvSpPr/>
            <p:nvPr>
              <p:custDataLst>
                <p:tags r:id="rId11"/>
              </p:custDataLst>
            </p:nvPr>
          </p:nvSpPr>
          <p:spPr>
            <a:xfrm>
              <a:off x="5822071" y="3500438"/>
              <a:ext cx="500066" cy="35719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cxnSp>
        <p:nvCxnSpPr>
          <p:cNvPr id="32" name="Přímá spojovací šipka 31"/>
          <p:cNvCxnSpPr/>
          <p:nvPr/>
        </p:nvCxnSpPr>
        <p:spPr>
          <a:xfrm>
            <a:off x="5572132" y="5857892"/>
            <a:ext cx="285752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0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V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5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6786578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Odhad funkce intenzity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cs-CZ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vynormování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čtem obyvatel v okresech </a:t>
            </a: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15"/>
          <a:srcRect l="43750" t="24167" r="37795" b="70000"/>
          <a:stretch>
            <a:fillRect/>
          </a:stretch>
        </p:blipFill>
        <p:spPr bwMode="auto">
          <a:xfrm>
            <a:off x="1643042" y="1928802"/>
            <a:ext cx="2531192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15"/>
          <a:srcRect l="33334" t="41667" r="24999" b="10833"/>
          <a:stretch>
            <a:fillRect/>
          </a:stretch>
        </p:blipFill>
        <p:spPr bwMode="auto">
          <a:xfrm>
            <a:off x="2500298" y="2500306"/>
            <a:ext cx="5143536" cy="3664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6325" name="Picture 5"/>
          <p:cNvPicPr>
            <a:picLocks noChangeAspect="1" noChangeArrowheads="1"/>
          </p:cNvPicPr>
          <p:nvPr/>
        </p:nvPicPr>
        <p:blipFill>
          <a:blip r:embed="rId16"/>
          <a:srcRect l="38542" t="35000" r="33854" b="58333"/>
          <a:stretch>
            <a:fillRect/>
          </a:stretch>
        </p:blipFill>
        <p:spPr bwMode="auto">
          <a:xfrm>
            <a:off x="4643438" y="1857364"/>
            <a:ext cx="3786182" cy="571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8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ační část a její výsledky V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6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6786578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dat pro zpracování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7347" name="Picture 3"/>
          <p:cNvPicPr>
            <a:picLocks noChangeAspect="1" noChangeArrowheads="1"/>
          </p:cNvPicPr>
          <p:nvPr/>
        </p:nvPicPr>
        <p:blipFill>
          <a:blip r:embed="rId15"/>
          <a:srcRect l="33334" t="32500" r="26562" b="41666"/>
          <a:stretch>
            <a:fillRect/>
          </a:stretch>
        </p:blipFill>
        <p:spPr bwMode="auto">
          <a:xfrm>
            <a:off x="2071670" y="2214554"/>
            <a:ext cx="5500726" cy="22145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0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7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6786578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izualizace výsledků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3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jistné události způsobené zásahem blesku v roce 2010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1443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357290" y="2500306"/>
            <a:ext cx="7410450" cy="2943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8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8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6786578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izualizace výsledků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3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Blesková mapa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3491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571603" y="2571744"/>
            <a:ext cx="6924471" cy="2786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4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7058020" cy="755645"/>
          </a:xfrm>
        </p:spPr>
        <p:txBody>
          <a:bodyPr>
            <a:normAutofit fontScale="90000"/>
          </a:bodyPr>
          <a:lstStyle/>
          <a:p>
            <a:pPr algn="l"/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I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19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6786578" cy="47551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izualizace výsledků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3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růměrný roční počet blesků nad územím ČR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571604" y="2571744"/>
            <a:ext cx="7229470" cy="3155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5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5843574" cy="755645"/>
          </a:xfrm>
        </p:spPr>
        <p:txBody>
          <a:bodyPr>
            <a:normAutofit fontScale="90000"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Obsah</a:t>
            </a:r>
            <a:r>
              <a:rPr lang="cs-CZ" b="1" dirty="0" smtClean="0">
                <a:solidFill>
                  <a:srgbClr val="1D408F"/>
                </a:solidFill>
              </a:rPr>
              <a:t> 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8" name="TextovéPole 17"/>
          <p:cNvSpPr txBox="1"/>
          <p:nvPr>
            <p:custDataLst>
              <p:tags r:id="rId6"/>
            </p:custDataLst>
          </p:nvPr>
        </p:nvSpPr>
        <p:spPr>
          <a:xfrm>
            <a:off x="1500166" y="1462335"/>
            <a:ext cx="7286644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77788" defTabSz="11160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  <a:tabLst>
                <a:tab pos="324000" algn="l"/>
              </a:tabLst>
            </a:pPr>
            <a:r>
              <a:rPr lang="cs-CZ" sz="24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Cíl diplomové práce</a:t>
            </a:r>
          </a:p>
          <a:p>
            <a:pPr marL="457200" indent="77788" defTabSz="1116000">
              <a:lnSpc>
                <a:spcPct val="150000"/>
              </a:lnSpc>
              <a:spcBef>
                <a:spcPts val="900"/>
              </a:spcBef>
              <a:spcAft>
                <a:spcPts val="600"/>
              </a:spcAft>
              <a:buClr>
                <a:srgbClr val="1D408F"/>
              </a:buClr>
              <a:tabLst>
                <a:tab pos="324000" algn="l"/>
              </a:tabLst>
            </a:pPr>
            <a:r>
              <a:rPr lang="cs-CZ" sz="24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Získání dat</a:t>
            </a:r>
          </a:p>
          <a:p>
            <a:pPr marL="457200" indent="77788" defTabSz="11160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  <a:tabLst>
                <a:tab pos="324000" algn="l"/>
              </a:tabLst>
            </a:pPr>
            <a:r>
              <a:rPr lang="cs-CZ" sz="24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Teoretická část a její výsledky</a:t>
            </a:r>
          </a:p>
          <a:p>
            <a:pPr marL="457200" indent="77788" defTabSz="111600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  <a:tabLst>
                <a:tab pos="324000" algn="l"/>
              </a:tabLst>
            </a:pPr>
            <a:r>
              <a:rPr lang="cs-CZ" sz="24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Aplikační část a její výsledky</a:t>
            </a:r>
          </a:p>
          <a:p>
            <a:pPr marL="457200" indent="77788" defTabSz="1116000">
              <a:lnSpc>
                <a:spcPct val="150000"/>
              </a:lnSpc>
              <a:spcBef>
                <a:spcPts val="900"/>
              </a:spcBef>
              <a:spcAft>
                <a:spcPts val="600"/>
              </a:spcAft>
              <a:buClr>
                <a:srgbClr val="1D408F"/>
              </a:buClr>
              <a:tabLst>
                <a:tab pos="324000" algn="l"/>
              </a:tabLst>
            </a:pPr>
            <a:r>
              <a:rPr lang="cs-CZ" sz="24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Shrnutí klíčových výsledků</a:t>
            </a:r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2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8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9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34" name="Zaoblený obdélník 33"/>
          <p:cNvSpPr/>
          <p:nvPr/>
        </p:nvSpPr>
        <p:spPr>
          <a:xfrm>
            <a:off x="1571604" y="1643050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Zaoblený obdélník 34"/>
          <p:cNvSpPr/>
          <p:nvPr/>
        </p:nvSpPr>
        <p:spPr>
          <a:xfrm>
            <a:off x="1571604" y="2357430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36" name="Zaoblený obdélník 35"/>
          <p:cNvSpPr/>
          <p:nvPr/>
        </p:nvSpPr>
        <p:spPr>
          <a:xfrm>
            <a:off x="1571604" y="3071810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37" name="Zaoblený obdélník 36"/>
          <p:cNvSpPr/>
          <p:nvPr/>
        </p:nvSpPr>
        <p:spPr>
          <a:xfrm>
            <a:off x="1571604" y="3786190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sp>
        <p:nvSpPr>
          <p:cNvPr id="38" name="Zaoblený obdélník 37"/>
          <p:cNvSpPr/>
          <p:nvPr/>
        </p:nvSpPr>
        <p:spPr>
          <a:xfrm>
            <a:off x="1571604" y="4500570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2" name="think-cell Slide" r:id="rId13" imgW="429" imgH="429" progId="TCLayout.ActiveDocument.1">
                  <p:embed/>
                </p:oleObj>
              </mc:Choice>
              <mc:Fallback>
                <p:oleObj name="think-cell Slide" r:id="rId13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I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20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4214842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orovnání – grafické 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6" name="Picture 3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1571604" y="3857628"/>
            <a:ext cx="3875707" cy="1691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1357290" y="2000240"/>
            <a:ext cx="4006320" cy="16119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" name="TextovéPole 27"/>
          <p:cNvSpPr txBox="1"/>
          <p:nvPr>
            <p:custDataLst>
              <p:tags r:id="rId10"/>
            </p:custDataLst>
          </p:nvPr>
        </p:nvSpPr>
        <p:spPr>
          <a:xfrm>
            <a:off x="5857884" y="1643050"/>
            <a:ext cx="2857520" cy="37702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S výjimkou Krušných hor se jeví, že v oblastech, kde se více blýská, je vyšší</a:t>
            </a: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pravděpodobnost vzniku pojistných událostí.</a:t>
            </a: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Větší blesková aktivita ukazuje na vyšší počet vzniklých pojistných událostí v daném místě České republiky.</a:t>
            </a: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6" name="think-cell Slide" r:id="rId13" imgW="429" imgH="429" progId="TCLayout.ActiveDocument.1">
                  <p:embed/>
                </p:oleObj>
              </mc:Choice>
              <mc:Fallback>
                <p:oleObj name="think-cell Slide" r:id="rId13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5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21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35" name="TextovéPole 34"/>
          <p:cNvSpPr txBox="1"/>
          <p:nvPr>
            <p:custDataLst>
              <p:tags r:id="rId9"/>
            </p:custDataLst>
          </p:nvPr>
        </p:nvSpPr>
        <p:spPr>
          <a:xfrm>
            <a:off x="1571604" y="1343459"/>
            <a:ext cx="4214842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orovnání – korelace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ovéPole 27"/>
          <p:cNvSpPr txBox="1"/>
          <p:nvPr>
            <p:custDataLst>
              <p:tags r:id="rId10"/>
            </p:custDataLst>
          </p:nvPr>
        </p:nvSpPr>
        <p:spPr>
          <a:xfrm>
            <a:off x="1571604" y="3143249"/>
            <a:ext cx="6643734" cy="338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Test korelačního koeficientu nepotvrdil nulovost korelačního</a:t>
            </a: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koeficientu. </a:t>
            </a:r>
          </a:p>
          <a:p>
            <a:endParaRPr lang="cs-CZ" sz="5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sz="5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Provedený test korelačního koeficientu tedy </a:t>
            </a:r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yvrátil nezávislost</a:t>
            </a:r>
          </a:p>
          <a:p>
            <a:pPr>
              <a:spcAft>
                <a:spcPts val="1200"/>
              </a:spcAft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mezi testovanými daty a potvrzuje závěr z grafického porovnání dat .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Závěr</a:t>
            </a:r>
          </a:p>
          <a:p>
            <a:endParaRPr lang="cs-CZ" sz="5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V místech České republiky s vyšším průměrným počtem blesků, </a:t>
            </a:r>
          </a:p>
          <a:p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je vyšší pravděpodobnost vzniku pojistných událostí a sestrojenou bleskovou mapu lze využít jako podklad pro další potřebné výpočty.</a:t>
            </a:r>
          </a:p>
        </p:txBody>
      </p:sp>
      <p:pic>
        <p:nvPicPr>
          <p:cNvPr id="65539" name="Picture 3"/>
          <p:cNvPicPr>
            <a:picLocks noChangeAspect="1" noChangeArrowheads="1"/>
          </p:cNvPicPr>
          <p:nvPr/>
        </p:nvPicPr>
        <p:blipFill>
          <a:blip r:embed="rId16"/>
          <a:srcRect l="35417" t="44167" r="27604" b="42500"/>
          <a:stretch>
            <a:fillRect/>
          </a:stretch>
        </p:blipFill>
        <p:spPr bwMode="auto">
          <a:xfrm>
            <a:off x="1571604" y="1857364"/>
            <a:ext cx="5072098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2" name="think-cell Slide" r:id="rId23" imgW="429" imgH="429" progId="TCLayout.ActiveDocument.1">
                  <p:embed/>
                </p:oleObj>
              </mc:Choice>
              <mc:Fallback>
                <p:oleObj name="think-cell Slide" r:id="rId23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Picture 4" descr="http://images.all-free-download.com/images/graphiclarge/tick_ok_sign_4190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786710" y="4143380"/>
            <a:ext cx="366698" cy="366698"/>
          </a:xfrm>
          <a:prstGeom prst="rect">
            <a:avLst/>
          </a:prstGeom>
          <a:noFill/>
        </p:spPr>
      </p:pic>
      <p:pic>
        <p:nvPicPr>
          <p:cNvPr id="84996" name="Picture 4" descr="http://images.all-free-download.com/images/graphiclarge/tick_ok_sign_4190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5214942" y="2643182"/>
            <a:ext cx="366698" cy="366698"/>
          </a:xfrm>
          <a:prstGeom prst="rect">
            <a:avLst/>
          </a:prstGeom>
          <a:noFill/>
        </p:spPr>
      </p:pic>
      <p:pic>
        <p:nvPicPr>
          <p:cNvPr id="26" name="Picture 4" descr="http://images.all-free-download.com/images/graphiclarge/tick_ok_sign_4190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501090" y="2000240"/>
            <a:ext cx="366698" cy="366698"/>
          </a:xfrm>
          <a:prstGeom prst="rect">
            <a:avLst/>
          </a:prstGeom>
          <a:noFill/>
        </p:spPr>
      </p:pic>
      <p:pic>
        <p:nvPicPr>
          <p:cNvPr id="25" name="Picture 4" descr="http://images.all-free-download.com/images/graphiclarge/tick_ok_sign_4190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858148" y="3571876"/>
            <a:ext cx="366698" cy="366698"/>
          </a:xfrm>
          <a:prstGeom prst="rect">
            <a:avLst/>
          </a:prstGeom>
          <a:noFill/>
        </p:spPr>
      </p:pic>
      <p:sp>
        <p:nvSpPr>
          <p:cNvPr id="41" name="TextovéPole 40"/>
          <p:cNvSpPr txBox="1"/>
          <p:nvPr>
            <p:custDataLst>
              <p:tags r:id="rId7"/>
            </p:custDataLst>
          </p:nvPr>
        </p:nvSpPr>
        <p:spPr>
          <a:xfrm>
            <a:off x="1571604" y="1428736"/>
            <a:ext cx="721520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Získat a analyzovat </a:t>
            </a:r>
          </a:p>
          <a:p>
            <a:pPr marL="457200" indent="-457200" defTabSz="1116000">
              <a:spcAft>
                <a:spcPts val="600"/>
              </a:spcAft>
              <a:buClr>
                <a:srgbClr val="1D408F"/>
              </a:buClr>
              <a:buFont typeface="+mj-lt"/>
              <a:buAutoNum type="alphaLcPeriod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hydrometeorologické údaje o výskytech blesků na území ČR</a:t>
            </a:r>
          </a:p>
          <a:p>
            <a:pPr marL="457200" indent="-457200" defTabSz="1116000">
              <a:spcAft>
                <a:spcPts val="600"/>
              </a:spcAft>
              <a:buClr>
                <a:srgbClr val="1D408F"/>
              </a:buClr>
              <a:buFont typeface="+mj-lt"/>
              <a:buAutoNum type="alphaLcPeriod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reálná data pojišťovny týkající se pojistných událostí způsobených zásahem blesku,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nastudovat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základy stochastické geometrie a bodových procesů,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ovat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metody stochastické geometrie na získaná data a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yvodit ekonomické závěry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užitečné v pojišťovnické praxi.</a:t>
            </a:r>
          </a:p>
        </p:txBody>
      </p:sp>
      <p:pic>
        <p:nvPicPr>
          <p:cNvPr id="18" name="Picture 4" descr="http://images.all-free-download.com/images/graphiclarge/tick_ok_sign_4190.jp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501090" y="3214686"/>
            <a:ext cx="366698" cy="366698"/>
          </a:xfrm>
          <a:prstGeom prst="rect">
            <a:avLst/>
          </a:prstGeom>
          <a:noFill/>
        </p:spPr>
      </p:pic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6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10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11"/>
            </p:custDataLst>
          </p:nvPr>
        </p:nvSpPr>
        <p:spPr>
          <a:xfrm>
            <a:off x="1514508" y="173025"/>
            <a:ext cx="7129458" cy="755645"/>
          </a:xfrm>
        </p:spPr>
        <p:txBody>
          <a:bodyPr>
            <a:normAutofit fontScale="90000"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Shrnutí klíčových výsledků – Cíl práce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22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13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14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>
            <p:custDataLst>
              <p:tags r:id="rId15"/>
            </p:custDataLst>
          </p:nvPr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>
            <p:custDataLst>
              <p:tags r:id="rId16"/>
            </p:custDataLst>
          </p:nvPr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>
            <p:custDataLst>
              <p:tags r:id="rId17"/>
            </p:custDataLst>
          </p:nvPr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Zaoblený obdélník 19"/>
          <p:cNvSpPr/>
          <p:nvPr>
            <p:custDataLst>
              <p:tags r:id="rId18"/>
            </p:custDataLst>
          </p:nvPr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Zaoblený obdélník 21"/>
          <p:cNvSpPr/>
          <p:nvPr>
            <p:custDataLst>
              <p:tags r:id="rId19"/>
            </p:custDataLst>
          </p:nvPr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>
            <p:custDataLst>
              <p:tags r:id="rId20"/>
            </p:custDataLst>
          </p:nvPr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49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3500430" y="714356"/>
            <a:ext cx="4643470" cy="2071702"/>
          </a:xfrm>
        </p:spPr>
        <p:txBody>
          <a:bodyPr>
            <a:noAutofit/>
          </a:bodyPr>
          <a:lstStyle/>
          <a:p>
            <a:pPr algn="ctr"/>
            <a:r>
              <a:rPr lang="cs-CZ" sz="3200" cap="none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cs-CZ" sz="3200" cap="none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cs-CZ" sz="3200" cap="none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Děkuji za </a:t>
            </a:r>
            <a:r>
              <a:rPr lang="cs-CZ" sz="3200" cap="none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pozornost a ráda zodpovím Vaše dotazy.</a:t>
            </a:r>
            <a:endParaRPr lang="cs-CZ" sz="3200" cap="none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34" name="Přímá spojovací čára 33"/>
          <p:cNvCxnSpPr/>
          <p:nvPr/>
        </p:nvCxnSpPr>
        <p:spPr>
          <a:xfrm>
            <a:off x="0" y="3286124"/>
            <a:ext cx="9144000" cy="1588"/>
          </a:xfrm>
          <a:prstGeom prst="line">
            <a:avLst/>
          </a:prstGeom>
          <a:ln w="762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857232"/>
            <a:ext cx="2198794" cy="1657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Obdélník 7"/>
          <p:cNvSpPr/>
          <p:nvPr/>
        </p:nvSpPr>
        <p:spPr>
          <a:xfrm>
            <a:off x="0" y="3321749"/>
            <a:ext cx="9144000" cy="3536251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28650">
              <a:spcBef>
                <a:spcPts val="600"/>
              </a:spcBef>
            </a:pPr>
            <a:endParaRPr lang="cs-CZ" sz="2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Obdélník 12"/>
          <p:cNvSpPr/>
          <p:nvPr/>
        </p:nvSpPr>
        <p:spPr>
          <a:xfrm>
            <a:off x="0" y="0"/>
            <a:ext cx="9144000" cy="3357562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2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5843574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Cíl práce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3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ovéPole 40"/>
          <p:cNvSpPr txBox="1"/>
          <p:nvPr>
            <p:custDataLst>
              <p:tags r:id="rId9"/>
            </p:custDataLst>
          </p:nvPr>
        </p:nvSpPr>
        <p:spPr>
          <a:xfrm>
            <a:off x="1571636" y="1462335"/>
            <a:ext cx="735808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Získat a analyzovat </a:t>
            </a:r>
          </a:p>
          <a:p>
            <a:pPr marL="457200" indent="-457200" defTabSz="1116000">
              <a:spcAft>
                <a:spcPts val="600"/>
              </a:spcAft>
              <a:buClr>
                <a:srgbClr val="1D408F"/>
              </a:buClr>
              <a:buFont typeface="+mj-lt"/>
              <a:buAutoNum type="alphaLcPeriod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hydrometeorologické údaje o výskytech blesků na území ČR,</a:t>
            </a:r>
          </a:p>
          <a:p>
            <a:pPr marL="457200" indent="-457200" defTabSz="1116000">
              <a:spcAft>
                <a:spcPts val="600"/>
              </a:spcAft>
              <a:buClr>
                <a:srgbClr val="1D408F"/>
              </a:buClr>
              <a:buFont typeface="+mj-lt"/>
              <a:buAutoNum type="alphaLcPeriod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reálná data pojišťovny týkající se pojistných událostí způsobených zásahem blesku,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nastudovat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základy stochastické geometrie a bodových procesů, 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plikovat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metody stochastické geometrie na získaná data a</a:t>
            </a:r>
          </a:p>
          <a:p>
            <a:pPr defTabSz="1116000">
              <a:spcBef>
                <a:spcPts val="600"/>
              </a:spcBef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vyvodit ekonomické závěry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užitečné v pojišťovnické praxi.</a:t>
            </a: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6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5843574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Získání dat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4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ovéPole 40"/>
          <p:cNvSpPr txBox="1"/>
          <p:nvPr>
            <p:custDataLst>
              <p:tags r:id="rId9"/>
            </p:custDataLst>
          </p:nvPr>
        </p:nvSpPr>
        <p:spPr>
          <a:xfrm>
            <a:off x="1571636" y="1346707"/>
            <a:ext cx="721520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Generali</a:t>
            </a: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Pojišťovna a.s.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odbor Likvidace neživotního pojištění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Smlouva o zpracování osobních údajů</a:t>
            </a:r>
          </a:p>
          <a:p>
            <a:pPr lvl="1" defTabSz="1116000"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jistné události způsobené úderem blesku nahlášené 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  v letech 2010, 2011 a 1. ¼ 2012 (.</a:t>
            </a:r>
            <a:r>
              <a:rPr lang="cs-CZ" sz="2000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xls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2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ovéPole 17"/>
          <p:cNvSpPr txBox="1"/>
          <p:nvPr/>
        </p:nvSpPr>
        <p:spPr>
          <a:xfrm>
            <a:off x="1571604" y="3571876"/>
            <a:ext cx="707236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ČHMÚ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Odbor distančních měření – Oddělení radarové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Žádost o poskytnutí dat</a:t>
            </a:r>
          </a:p>
          <a:p>
            <a:pPr lvl="1" defTabSz="1116000"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binární </a:t>
            </a:r>
            <a:r>
              <a:rPr lang="cs-CZ" sz="2000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gridová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informace – zakódované počty blesků do</a:t>
            </a:r>
          </a:p>
          <a:p>
            <a:pPr lvl="1" defTabSz="1116000">
              <a:buClr>
                <a:srgbClr val="1D408F"/>
              </a:buClr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  Země v ortogonální mřížce v letech 2002 – 2010 (.</a:t>
            </a:r>
            <a:r>
              <a:rPr lang="cs-CZ" sz="2000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rpd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)</a:t>
            </a:r>
          </a:p>
          <a:p>
            <a:endParaRPr lang="cs-CZ" dirty="0"/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0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415078" cy="755645"/>
          </a:xfrm>
        </p:spPr>
        <p:txBody>
          <a:bodyPr>
            <a:no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eoretická část a její výsledky I</a:t>
            </a:r>
            <a:endParaRPr lang="cs-CZ" sz="3600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5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ovéPole 40"/>
          <p:cNvSpPr txBox="1"/>
          <p:nvPr>
            <p:custDataLst>
              <p:tags r:id="rId9"/>
            </p:custDataLst>
          </p:nvPr>
        </p:nvSpPr>
        <p:spPr>
          <a:xfrm>
            <a:off x="1571636" y="1346706"/>
            <a:ext cx="7215206" cy="63248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A. Pojišťovnictví a pojištění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pojistný trh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jistné produkty – životní a neživotní (pojištění majetku)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B. Blesk – fyzikální podstata a detekce výskytu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podstata</a:t>
            </a:r>
          </a:p>
          <a:p>
            <a:pPr lvl="2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jiskrový výboj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typy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nebezpečí</a:t>
            </a:r>
          </a:p>
          <a:p>
            <a:pPr lvl="2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zdraví, škody na majetku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detekce</a:t>
            </a:r>
          </a:p>
          <a:p>
            <a:pPr lvl="2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družice, radary</a:t>
            </a:r>
          </a:p>
          <a:p>
            <a:pPr lvl="2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CELDN</a:t>
            </a:r>
            <a:endParaRPr lang="cs-CZ" sz="20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endParaRPr lang="cs-CZ" sz="22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5843" name="Picture 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5786446" y="3571876"/>
            <a:ext cx="3167745" cy="2286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557954" cy="755645"/>
          </a:xfrm>
        </p:spPr>
        <p:txBody>
          <a:bodyPr>
            <a:no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eoretická část a její výsledky II</a:t>
            </a:r>
            <a:endParaRPr lang="cs-CZ" sz="3600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6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TextovéPole 40"/>
          <p:cNvSpPr txBox="1"/>
          <p:nvPr>
            <p:custDataLst>
              <p:tags r:id="rId9"/>
            </p:custDataLst>
          </p:nvPr>
        </p:nvSpPr>
        <p:spPr>
          <a:xfrm>
            <a:off x="1571636" y="1355459"/>
            <a:ext cx="7572364" cy="5216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C. Matematický aparát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sz="20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Stochastická geometrie</a:t>
            </a:r>
          </a:p>
          <a:p>
            <a:pPr lvl="1" defTabSz="1116000"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analýza a modelování geometrických struktur složených z objektů  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  náhodně rozmístěných v prostoru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Objekt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výskyt entity (útvar, událost) </a:t>
            </a:r>
            <a:r>
              <a:rPr lang="cs-CZ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reprezentov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a</a:t>
            </a:r>
            <a:r>
              <a:rPr lang="cs-CZ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ný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bodem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Bodový proces</a:t>
            </a:r>
          </a:p>
          <a:p>
            <a:pPr lvl="1" defTabSz="1116000"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rozmístění bodů v prostoru v daném čase; náhodná množina bodů</a:t>
            </a:r>
          </a:p>
          <a:p>
            <a:pPr lvl="1" defTabSz="1116000"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X = náhodná konfigurace bodů 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{x</a:t>
            </a:r>
            <a:r>
              <a:rPr lang="en-US" b="1" baseline="-25000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,x</a:t>
            </a:r>
            <a:r>
              <a:rPr lang="cs-CZ" b="1" baseline="-25000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,x</a:t>
            </a:r>
            <a:r>
              <a:rPr lang="cs-CZ" b="1" baseline="-25000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,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…</a:t>
            </a:r>
            <a:r>
              <a:rPr lang="en-US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}</a:t>
            </a:r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Bef>
                <a:spcPts val="600"/>
              </a:spcBef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Charakteristiky bodových procesů</a:t>
            </a:r>
          </a:p>
          <a:p>
            <a:pPr lvl="1" defTabSz="1116000">
              <a:spcBef>
                <a:spcPts val="600"/>
              </a:spcBef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míra intenzity – střední počet bodů procesu X v množině</a:t>
            </a:r>
          </a:p>
          <a:p>
            <a:pPr lvl="1" defTabSz="1116000">
              <a:spcBef>
                <a:spcPts val="600"/>
              </a:spcBef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funkce intenzity – </a:t>
            </a:r>
            <a:r>
              <a:rPr lang="el-GR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λ</a:t>
            </a:r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(x) – pravděpodobnost, že se v nekonečně malém    </a:t>
            </a:r>
          </a:p>
          <a:p>
            <a:pPr lvl="1" defTabSz="1116000">
              <a:buClr>
                <a:srgbClr val="1D408F"/>
              </a:buClr>
            </a:pPr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prostoru kolem bodu x s objemem </a:t>
            </a:r>
            <a:r>
              <a:rPr lang="cs-CZ" b="1" dirty="0" err="1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dx</a:t>
            </a:r>
            <a:r>
              <a:rPr lang="cs-C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nachází bod</a:t>
            </a:r>
          </a:p>
          <a:p>
            <a:pPr lvl="1" defTabSz="1116000">
              <a:spcBef>
                <a:spcPts val="600"/>
              </a:spcBef>
              <a:buClr>
                <a:srgbClr val="1D408F"/>
              </a:buCl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intenzita ↔ konstantní </a:t>
            </a:r>
            <a:r>
              <a:rPr lang="el-GR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λ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(x) </a:t>
            </a: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4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eoretická část a její výsledky III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7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987" name="Picture 3"/>
          <p:cNvPicPr>
            <a:picLocks noChangeAspect="1" noChangeArrowheads="1"/>
          </p:cNvPicPr>
          <p:nvPr/>
        </p:nvPicPr>
        <p:blipFill>
          <a:blip r:embed="rId15"/>
          <a:srcRect l="27083" t="42500" r="20833" b="24166"/>
          <a:stretch>
            <a:fillRect/>
          </a:stretch>
        </p:blipFill>
        <p:spPr bwMode="auto">
          <a:xfrm>
            <a:off x="1285852" y="1500174"/>
            <a:ext cx="6643734" cy="2657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8" name="TextovéPole 17"/>
          <p:cNvSpPr txBox="1"/>
          <p:nvPr>
            <p:custDataLst>
              <p:tags r:id="rId9"/>
            </p:custDataLst>
          </p:nvPr>
        </p:nvSpPr>
        <p:spPr>
          <a:xfrm>
            <a:off x="1571636" y="1071547"/>
            <a:ext cx="6500826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Bodový proces</a:t>
            </a: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8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Funkce intenzity</a:t>
            </a:r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16"/>
          <a:srcRect l="28646" t="42500" r="39062" b="40833"/>
          <a:stretch>
            <a:fillRect/>
          </a:stretch>
        </p:blipFill>
        <p:spPr bwMode="auto">
          <a:xfrm>
            <a:off x="1571604" y="4857760"/>
            <a:ext cx="4429156" cy="14287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eoretická část a její výsledky I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8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ovéPole 17"/>
          <p:cNvSpPr txBox="1"/>
          <p:nvPr>
            <p:custDataLst>
              <p:tags r:id="rId9"/>
            </p:custDataLst>
          </p:nvPr>
        </p:nvSpPr>
        <p:spPr>
          <a:xfrm>
            <a:off x="1571636" y="1071546"/>
            <a:ext cx="6786578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Jádrová funkce</a:t>
            </a:r>
          </a:p>
          <a:p>
            <a:pP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pt-BR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přenesení informace získané v daném bodě do plošné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podoby</a:t>
            </a: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Courier New" pitchFamily="49" charset="0"/>
              <a:buChar char="o"/>
            </a:pP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hustota pravděpodobnosti – </a:t>
            </a:r>
            <a:r>
              <a:rPr lang="cs-CZ" b="1" dirty="0" err="1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Epanečnikovo</a:t>
            </a:r>
            <a:r>
              <a:rPr lang="cs-CZ" b="1" dirty="0" smtClean="0">
                <a:solidFill>
                  <a:srgbClr val="1D408F"/>
                </a:solidFill>
                <a:latin typeface="Times New Roman" pitchFamily="18" charset="0"/>
                <a:cs typeface="Times New Roman" pitchFamily="18" charset="0"/>
              </a:rPr>
              <a:t> jádro</a:t>
            </a:r>
          </a:p>
          <a:p>
            <a:pPr>
              <a:buFont typeface="Courier New" pitchFamily="49" charset="0"/>
              <a:buChar char="o"/>
            </a:pPr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Courier New" pitchFamily="49" charset="0"/>
              <a:buChar char="o"/>
            </a:pPr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cs-CZ" dirty="0" smtClean="0"/>
              <a:t> </a:t>
            </a: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Korelační koeficient</a:t>
            </a: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3012" name="Picture 4"/>
          <p:cNvPicPr>
            <a:picLocks noChangeAspect="1" noChangeArrowheads="1"/>
          </p:cNvPicPr>
          <p:nvPr/>
        </p:nvPicPr>
        <p:blipFill>
          <a:blip r:embed="rId15"/>
          <a:srcRect l="34375" t="49167" r="27604" b="22499"/>
          <a:stretch>
            <a:fillRect/>
          </a:stretch>
        </p:blipFill>
        <p:spPr bwMode="auto">
          <a:xfrm>
            <a:off x="2500298" y="2000240"/>
            <a:ext cx="4429156" cy="2062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43021" name="Picture 13"/>
          <p:cNvPicPr>
            <a:picLocks noChangeAspect="1" noChangeArrowheads="1"/>
          </p:cNvPicPr>
          <p:nvPr/>
        </p:nvPicPr>
        <p:blipFill>
          <a:blip r:embed="rId16"/>
          <a:srcRect l="37500" t="46667" r="31417" b="50000"/>
          <a:stretch>
            <a:fillRect/>
          </a:stretch>
        </p:blipFill>
        <p:spPr bwMode="auto">
          <a:xfrm>
            <a:off x="2643174" y="4786322"/>
            <a:ext cx="4263408" cy="285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3022" name="Picture 14"/>
          <p:cNvPicPr>
            <a:picLocks noChangeAspect="1" noChangeArrowheads="1"/>
          </p:cNvPicPr>
          <p:nvPr/>
        </p:nvPicPr>
        <p:blipFill>
          <a:blip r:embed="rId17"/>
          <a:srcRect l="36459" t="50834" r="29687" b="40000"/>
          <a:stretch>
            <a:fillRect/>
          </a:stretch>
        </p:blipFill>
        <p:spPr bwMode="auto">
          <a:xfrm>
            <a:off x="2285984" y="5214950"/>
            <a:ext cx="4643406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8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93" name="Picture 9" descr="http://www.cvut.cz/informace-pro-media/images/logo_cvut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4"/>
          <a:srcRect l="6461"/>
          <a:stretch>
            <a:fillRect/>
          </a:stretch>
        </p:blipFill>
        <p:spPr bwMode="auto">
          <a:xfrm>
            <a:off x="-32" y="0"/>
            <a:ext cx="1042419" cy="942976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Obdélník 16"/>
          <p:cNvSpPr/>
          <p:nvPr>
            <p:custDataLst>
              <p:tags r:id="rId4"/>
            </p:custDataLst>
          </p:nvPr>
        </p:nvSpPr>
        <p:spPr>
          <a:xfrm>
            <a:off x="0" y="928670"/>
            <a:ext cx="1044000" cy="592933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1514508" y="173025"/>
            <a:ext cx="6772268" cy="755645"/>
          </a:xfrm>
        </p:spPr>
        <p:txBody>
          <a:bodyPr>
            <a:normAutofit/>
          </a:bodyPr>
          <a:lstStyle/>
          <a:p>
            <a:pPr algn="l"/>
            <a:r>
              <a:rPr lang="cs-CZ" sz="36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Teoretická část a její výsledky V</a:t>
            </a:r>
            <a:endParaRPr lang="cs-CZ" b="1" dirty="0">
              <a:solidFill>
                <a:srgbClr val="1D408F"/>
              </a:solidFill>
            </a:endParaRPr>
          </a:p>
        </p:txBody>
      </p:sp>
      <p:sp>
        <p:nvSpPr>
          <p:cNvPr id="13" name="Zástupný symbol pro číslo snímku 12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/>
          <a:p>
            <a:fld id="{20264769-77EF-4CD0-90DE-F7D7F2D423C4}" type="slidenum">
              <a:rPr lang="cs-CZ" smtClean="0">
                <a:latin typeface="Times New Roman" pitchFamily="18" charset="0"/>
                <a:cs typeface="Times New Roman" pitchFamily="18" charset="0"/>
              </a:rPr>
              <a:pPr/>
              <a:t>9</a:t>
            </a:fld>
            <a:endParaRPr lang="cs-CZ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Obdélník 22"/>
          <p:cNvSpPr/>
          <p:nvPr>
            <p:custDataLst>
              <p:tags r:id="rId7"/>
            </p:custDataLst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11" name="Přímá spojovací čára 10"/>
          <p:cNvCxnSpPr/>
          <p:nvPr>
            <p:custDataLst>
              <p:tags r:id="rId8"/>
            </p:custDataLst>
          </p:nvPr>
        </p:nvCxnSpPr>
        <p:spPr>
          <a:xfrm>
            <a:off x="0" y="928670"/>
            <a:ext cx="9144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1" name="Přímá spojovací čára 30"/>
          <p:cNvCxnSpPr/>
          <p:nvPr/>
        </p:nvCxnSpPr>
        <p:spPr>
          <a:xfrm rot="5400000" flipH="1" flipV="1">
            <a:off x="-2369337" y="3429000"/>
            <a:ext cx="6858000" cy="1588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6" name="Zaoblený obdélník 15"/>
          <p:cNvSpPr/>
          <p:nvPr/>
        </p:nvSpPr>
        <p:spPr>
          <a:xfrm>
            <a:off x="357158" y="142873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Zaoblený obdélník 18"/>
          <p:cNvSpPr/>
          <p:nvPr/>
        </p:nvSpPr>
        <p:spPr>
          <a:xfrm>
            <a:off x="357158" y="214311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20" name="Zaoblený obdélník 19"/>
          <p:cNvSpPr/>
          <p:nvPr/>
        </p:nvSpPr>
        <p:spPr>
          <a:xfrm>
            <a:off x="357158" y="2857496"/>
            <a:ext cx="357190" cy="35719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Zaoblený obdélník 21"/>
          <p:cNvSpPr/>
          <p:nvPr/>
        </p:nvSpPr>
        <p:spPr>
          <a:xfrm>
            <a:off x="357158" y="357187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Zaoblený obdélník 23"/>
          <p:cNvSpPr/>
          <p:nvPr/>
        </p:nvSpPr>
        <p:spPr>
          <a:xfrm>
            <a:off x="357158" y="4286256"/>
            <a:ext cx="357190" cy="357190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b="1" dirty="0" smtClean="0">
                <a:solidFill>
                  <a:schemeClr val="accent1"/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endParaRPr lang="cs-CZ" b="1" dirty="0">
              <a:solidFill>
                <a:schemeClr val="accent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TextovéPole 17"/>
          <p:cNvSpPr txBox="1"/>
          <p:nvPr>
            <p:custDataLst>
              <p:tags r:id="rId9"/>
            </p:custDataLst>
          </p:nvPr>
        </p:nvSpPr>
        <p:spPr>
          <a:xfrm>
            <a:off x="1571636" y="1071546"/>
            <a:ext cx="6786578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16000">
              <a:spcAft>
                <a:spcPts val="600"/>
              </a:spcAft>
              <a:buClr>
                <a:srgbClr val="1D408F"/>
              </a:buClr>
            </a:pPr>
            <a:r>
              <a:rPr lang="cs-CZ" sz="22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D. SW nástroje – GIS</a:t>
            </a:r>
          </a:p>
          <a:p>
            <a:endParaRPr lang="cs-CZ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22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defTabSz="1116000">
              <a:spcAft>
                <a:spcPts val="600"/>
              </a:spcAft>
              <a:buClr>
                <a:srgbClr val="1D408F"/>
              </a:buClr>
            </a:pPr>
            <a:endParaRPr lang="cs-CZ" sz="800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1" defTabSz="1116000">
              <a:spcAft>
                <a:spcPts val="600"/>
              </a:spcAft>
              <a:buClr>
                <a:srgbClr val="1D408F"/>
              </a:buClr>
            </a:pPr>
            <a:endParaRPr lang="cs-CZ" sz="2000" b="1" dirty="0" smtClean="0">
              <a:solidFill>
                <a:srgbClr val="1D408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3017" name="Rectangle 9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sp>
        <p:nvSpPr>
          <p:cNvPr id="43018" name="Rectangle 10"/>
          <p:cNvSpPr>
            <a:spLocks noChangeArrowheads="1"/>
          </p:cNvSpPr>
          <p:nvPr/>
        </p:nvSpPr>
        <p:spPr bwMode="auto">
          <a:xfrm>
            <a:off x="0" y="10382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Times New Roman" pitchFamily="18" charset="0"/>
              </a:rPr>
              <a:t> </a:t>
            </a:r>
            <a:endParaRPr kumimoji="0" lang="cs-CZ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43020" name="Rectangle 1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48132" name="Picture 4"/>
          <p:cNvPicPr>
            <a:picLocks noChangeAspect="1" noChangeArrowheads="1"/>
          </p:cNvPicPr>
          <p:nvPr/>
        </p:nvPicPr>
        <p:blipFill>
          <a:blip r:embed="rId15"/>
          <a:srcRect r="17187" b="28333"/>
          <a:stretch>
            <a:fillRect/>
          </a:stretch>
        </p:blipFill>
        <p:spPr bwMode="auto">
          <a:xfrm>
            <a:off x="1928794" y="2000240"/>
            <a:ext cx="5929322" cy="3207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ad8t4ih0OazYxRd7.rd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if0032z0mL4DhzAZ9iT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y6SeNWh0eY6fiLDbr0Q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ykrlraHUa3SceIEwQ05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K39XCWFEW2.SkGTSO.x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TyDAI0h0.w56iJPSEhg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CZNflLyUeJN8JxcRK0_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uWvK51EU.9gsQewmGz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VbkmqDBUOvx96cs15tB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pSGz9pD0CzZXeO2pvg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2F8usx0EWXEsC.JPVfb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xmH.YxUihIu3g19VO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LPvIG.8ked9KhAnS.2h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EXiLbWOUmxLEMxjYh1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zhPe0u00StS1coMMDKf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p3RmCkw0OqB7ZPlF9G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Yc_luoUSKy3yev8S0i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Ci2PnHSkiiY3KQ93Fnv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ws_Zm3PEm9HGQIg.pFf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7paP5YX02B0IAJhDc9R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_kp_u9pU2SCBciAG0.k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U2NlaxVUm5FIMLmOFu5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U9afcMhk.z_qKBJ8Qwi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RfcQVkJEWjQYVaW6dTv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iSsUDvjE65tkzZVIrpD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H6jJc3tkqHIgPln38qO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_J9YA5Nkao4vd5K5tVg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L3G5X3DlUKl.NSR7Eya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2opOjQDaEWiXoY0umNHx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YZizuNqk2wetmWhezZ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_t3MXhSUyx1PN53E3q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Czgaflbl0KCylMGU9nMJ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8MzHsESZ02PQmsd3vQS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KOWXCusEqb.fOCl3d6E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NRd_FDh0a9Tb5qGkQC8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yBQlo440yXsgnNI7RI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hdgK0Fp0u6XExIwINvq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QRy3QK9EGGJmry5aD0k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_e6REUKnxca1qeypU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OFuo.xzU6HNt9dbaOFh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9V6Z9liUWssnp.gsqX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m.xjDY6EehojUyPrO9m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2d_vKrc02ATZ1q0VDSD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nSXgVgqk6cC2iF4pn4f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OEK1NgTk2Z.72VvQMJP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7iWbkxd0qpBTXAbEp9m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c3htpqZUKHdJzaeyI3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zkcSlVOEiV.hNZtbuez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Vvy5FHAU21ZBhg8Spu_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xtkSCiEOCmtDLQ2snqA"/>
</p:tagLst>
</file>

<file path=ppt/theme/theme1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64</TotalTime>
  <Words>848</Words>
  <Application>Microsoft Office PowerPoint</Application>
  <PresentationFormat>Předvádění na obrazovce (4:3)</PresentationFormat>
  <Paragraphs>410</Paragraphs>
  <Slides>23</Slides>
  <Notes>21</Notes>
  <HiddenSlides>0</HiddenSlides>
  <MMClips>0</MMClips>
  <ScaleCrop>false</ScaleCrop>
  <HeadingPairs>
    <vt:vector size="6" baseType="variant"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25" baseType="lpstr">
      <vt:lpstr>Motiv sady Office</vt:lpstr>
      <vt:lpstr>think-cell Slide</vt:lpstr>
      <vt:lpstr>Analýza elektrické aktivity v ovzduší zaměřená na ekonomické využití v pojišťovnictví</vt:lpstr>
      <vt:lpstr>Obsah </vt:lpstr>
      <vt:lpstr>Cíl práce</vt:lpstr>
      <vt:lpstr>Získání dat</vt:lpstr>
      <vt:lpstr>Teoretická část a její výsledky I</vt:lpstr>
      <vt:lpstr>Teoretická část a její výsledky II</vt:lpstr>
      <vt:lpstr>Teoretická část a její výsledky III</vt:lpstr>
      <vt:lpstr>Teoretická část a její výsledky IV</vt:lpstr>
      <vt:lpstr>Teoretická část a její výsledky V</vt:lpstr>
      <vt:lpstr>Aplikační část a její výsledky I</vt:lpstr>
      <vt:lpstr>Aplikační část a její výsledky II</vt:lpstr>
      <vt:lpstr>Aplikační část a její výsledky III</vt:lpstr>
      <vt:lpstr>Aplikační část a její výsledky IV</vt:lpstr>
      <vt:lpstr>Aplikační část a její výsledky IV</vt:lpstr>
      <vt:lpstr>Aplikační část a její výsledky VI</vt:lpstr>
      <vt:lpstr>Aplikační část a její výsledky VII</vt:lpstr>
      <vt:lpstr>Shrnutí klíčových výsledků I</vt:lpstr>
      <vt:lpstr>Shrnutí klíčových výsledků II</vt:lpstr>
      <vt:lpstr>Shrnutí klíčových výsledků III</vt:lpstr>
      <vt:lpstr>Shrnutí klíčových výsledků IV</vt:lpstr>
      <vt:lpstr>Shrnutí klíčových výsledků V</vt:lpstr>
      <vt:lpstr>Shrnutí klíčových výsledků – Cíl práce</vt:lpstr>
      <vt:lpstr> Děkuji za pozornost a ráda zodpovím Vaše dotazy.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etický management</dc:title>
  <cp:lastModifiedBy>zuzka</cp:lastModifiedBy>
  <cp:revision>184</cp:revision>
  <dcterms:modified xsi:type="dcterms:W3CDTF">2014-05-25T17:06:01Z</dcterms:modified>
</cp:coreProperties>
</file>